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9"/>
  </p:notesMasterIdLst>
  <p:sldIdLst>
    <p:sldId id="256" r:id="rId5"/>
    <p:sldId id="259" r:id="rId6"/>
    <p:sldId id="275" r:id="rId7"/>
    <p:sldId id="263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38" autoAdjust="0"/>
    <p:restoredTop sz="94660"/>
  </p:normalViewPr>
  <p:slideViewPr>
    <p:cSldViewPr snapToGrid="0">
      <p:cViewPr varScale="1">
        <p:scale>
          <a:sx n="66" d="100"/>
          <a:sy n="66" d="100"/>
        </p:scale>
        <p:origin x="560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engelk_smccd_edu/Documents/Surveys/COVID/August%202021%20Text%20Survey%20to%20Students/SMCCCD%20Modality%20Text%20Aug%202021_October%2027,%202021_14.33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SMCCCD Modality Text Aug 2021_October 27, 2021_14.33.xlsx]Sheet1'!$B$25</c:f>
              <c:strCache>
                <c:ptCount val="1"/>
                <c:pt idx="0">
                  <c:v>CAN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SMCCCD Modality Text Aug 2021_October 27, 2021_14.33.xlsx]Sheet1'!$A$26:$A$31</c:f>
              <c:strCache>
                <c:ptCount val="6"/>
                <c:pt idx="0">
                  <c:v>Strong preference for ON-CAMPUS classes</c:v>
                </c:pt>
                <c:pt idx="1">
                  <c:v>Moderate preference for ON-CAMPUS classes</c:v>
                </c:pt>
                <c:pt idx="2">
                  <c:v>No preference/equal preference for on-campus vs. online</c:v>
                </c:pt>
                <c:pt idx="3">
                  <c:v>Moderate preference for ONLINE classes</c:v>
                </c:pt>
                <c:pt idx="4">
                  <c:v>Strong preference for ONLINE classes</c:v>
                </c:pt>
                <c:pt idx="5">
                  <c:v>N/A - I do not plan to enroll in Spring 2022</c:v>
                </c:pt>
              </c:strCache>
            </c:strRef>
          </c:cat>
          <c:val>
            <c:numRef>
              <c:f>'[SMCCCD Modality Text Aug 2021_October 27, 2021_14.33.xlsx]Sheet1'!$B$26:$B$31</c:f>
              <c:numCache>
                <c:formatCode>0%</c:formatCode>
                <c:ptCount val="6"/>
                <c:pt idx="0">
                  <c:v>0.16775032509752927</c:v>
                </c:pt>
                <c:pt idx="1">
                  <c:v>8.7126137841352411E-2</c:v>
                </c:pt>
                <c:pt idx="2">
                  <c:v>0.11573472041612484</c:v>
                </c:pt>
                <c:pt idx="3">
                  <c:v>0.1222366710013004</c:v>
                </c:pt>
                <c:pt idx="4">
                  <c:v>0.47594278283485048</c:v>
                </c:pt>
                <c:pt idx="5">
                  <c:v>3.120936280884265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584-41E4-8071-373C042FBA23}"/>
            </c:ext>
          </c:extLst>
        </c:ser>
        <c:ser>
          <c:idx val="1"/>
          <c:order val="1"/>
          <c:tx>
            <c:strRef>
              <c:f>'[SMCCCD Modality Text Aug 2021_October 27, 2021_14.33.xlsx]Sheet1'!$C$25</c:f>
              <c:strCache>
                <c:ptCount val="1"/>
                <c:pt idx="0">
                  <c:v>CSM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SMCCCD Modality Text Aug 2021_October 27, 2021_14.33.xlsx]Sheet1'!$A$26:$A$31</c:f>
              <c:strCache>
                <c:ptCount val="6"/>
                <c:pt idx="0">
                  <c:v>Strong preference for ON-CAMPUS classes</c:v>
                </c:pt>
                <c:pt idx="1">
                  <c:v>Moderate preference for ON-CAMPUS classes</c:v>
                </c:pt>
                <c:pt idx="2">
                  <c:v>No preference/equal preference for on-campus vs. online</c:v>
                </c:pt>
                <c:pt idx="3">
                  <c:v>Moderate preference for ONLINE classes</c:v>
                </c:pt>
                <c:pt idx="4">
                  <c:v>Strong preference for ONLINE classes</c:v>
                </c:pt>
                <c:pt idx="5">
                  <c:v>N/A - I do not plan to enroll in Spring 2022</c:v>
                </c:pt>
              </c:strCache>
            </c:strRef>
          </c:cat>
          <c:val>
            <c:numRef>
              <c:f>'[SMCCCD Modality Text Aug 2021_October 27, 2021_14.33.xlsx]Sheet1'!$C$26:$C$31</c:f>
              <c:numCache>
                <c:formatCode>0%</c:formatCode>
                <c:ptCount val="6"/>
                <c:pt idx="0">
                  <c:v>0.24981245311327832</c:v>
                </c:pt>
                <c:pt idx="1">
                  <c:v>0.12678169542385595</c:v>
                </c:pt>
                <c:pt idx="2">
                  <c:v>0.13203300825206302</c:v>
                </c:pt>
                <c:pt idx="3">
                  <c:v>0.10202550637659415</c:v>
                </c:pt>
                <c:pt idx="4">
                  <c:v>0.3698424606151538</c:v>
                </c:pt>
                <c:pt idx="5">
                  <c:v>1.950487621905476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584-41E4-8071-373C042FBA23}"/>
            </c:ext>
          </c:extLst>
        </c:ser>
        <c:ser>
          <c:idx val="2"/>
          <c:order val="2"/>
          <c:tx>
            <c:strRef>
              <c:f>'[SMCCCD Modality Text Aug 2021_October 27, 2021_14.33.xlsx]Sheet1'!$D$25</c:f>
              <c:strCache>
                <c:ptCount val="1"/>
                <c:pt idx="0">
                  <c:v>SKY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SMCCCD Modality Text Aug 2021_October 27, 2021_14.33.xlsx]Sheet1'!$A$26:$A$31</c:f>
              <c:strCache>
                <c:ptCount val="6"/>
                <c:pt idx="0">
                  <c:v>Strong preference for ON-CAMPUS classes</c:v>
                </c:pt>
                <c:pt idx="1">
                  <c:v>Moderate preference for ON-CAMPUS classes</c:v>
                </c:pt>
                <c:pt idx="2">
                  <c:v>No preference/equal preference for on-campus vs. online</c:v>
                </c:pt>
                <c:pt idx="3">
                  <c:v>Moderate preference for ONLINE classes</c:v>
                </c:pt>
                <c:pt idx="4">
                  <c:v>Strong preference for ONLINE classes</c:v>
                </c:pt>
                <c:pt idx="5">
                  <c:v>N/A - I do not plan to enroll in Spring 2022</c:v>
                </c:pt>
              </c:strCache>
            </c:strRef>
          </c:cat>
          <c:val>
            <c:numRef>
              <c:f>'[SMCCCD Modality Text Aug 2021_October 27, 2021_14.33.xlsx]Sheet1'!$D$26:$D$31</c:f>
              <c:numCache>
                <c:formatCode>0%</c:formatCode>
                <c:ptCount val="6"/>
                <c:pt idx="0">
                  <c:v>0.18634686346863469</c:v>
                </c:pt>
                <c:pt idx="1">
                  <c:v>0.11900369003690037</c:v>
                </c:pt>
                <c:pt idx="2">
                  <c:v>0.11900369003690037</c:v>
                </c:pt>
                <c:pt idx="3">
                  <c:v>0.11346863468634687</c:v>
                </c:pt>
                <c:pt idx="4">
                  <c:v>0.43265682656826571</c:v>
                </c:pt>
                <c:pt idx="5">
                  <c:v>2.952029520295202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584-41E4-8071-373C042FBA2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094145199"/>
        <c:axId val="2094145615"/>
      </c:barChart>
      <c:catAx>
        <c:axId val="20941451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4145615"/>
        <c:crosses val="autoZero"/>
        <c:auto val="1"/>
        <c:lblAlgn val="ctr"/>
        <c:lblOffset val="100"/>
        <c:noMultiLvlLbl val="0"/>
      </c:catAx>
      <c:valAx>
        <c:axId val="2094145615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414519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FC9FB6-4837-4604-9608-7310CF615FB0}" type="datetimeFigureOut">
              <a:rPr lang="en-US" smtClean="0"/>
              <a:t>10/27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6CFF60-D6BF-4E92-85FD-1248C01E9B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48448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979FD1-EFE3-46D9-8D58-AC2C3C91F899}" type="datetimeFigureOut">
              <a:rPr lang="en-US" smtClean="0"/>
              <a:t>10/2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9B408-31D3-4D3F-850E-45EE1CC64E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90903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979FD1-EFE3-46D9-8D58-AC2C3C91F899}" type="datetimeFigureOut">
              <a:rPr lang="en-US" smtClean="0"/>
              <a:t>10/2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9B408-31D3-4D3F-850E-45EE1CC64E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72816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979FD1-EFE3-46D9-8D58-AC2C3C91F899}" type="datetimeFigureOut">
              <a:rPr lang="en-US" smtClean="0"/>
              <a:t>10/2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9B408-31D3-4D3F-850E-45EE1CC64E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21636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979FD1-EFE3-46D9-8D58-AC2C3C91F899}" type="datetimeFigureOut">
              <a:rPr lang="en-US" smtClean="0"/>
              <a:t>10/2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9B408-31D3-4D3F-850E-45EE1CC64E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61981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979FD1-EFE3-46D9-8D58-AC2C3C91F899}" type="datetimeFigureOut">
              <a:rPr lang="en-US" smtClean="0"/>
              <a:t>10/2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9B408-31D3-4D3F-850E-45EE1CC64E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46060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979FD1-EFE3-46D9-8D58-AC2C3C91F899}" type="datetimeFigureOut">
              <a:rPr lang="en-US" smtClean="0"/>
              <a:t>10/2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9B408-31D3-4D3F-850E-45EE1CC64E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86902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979FD1-EFE3-46D9-8D58-AC2C3C91F899}" type="datetimeFigureOut">
              <a:rPr lang="en-US" smtClean="0"/>
              <a:t>10/27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9B408-31D3-4D3F-850E-45EE1CC64E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53547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979FD1-EFE3-46D9-8D58-AC2C3C91F899}" type="datetimeFigureOut">
              <a:rPr lang="en-US" smtClean="0"/>
              <a:t>10/27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9B408-31D3-4D3F-850E-45EE1CC64E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46989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979FD1-EFE3-46D9-8D58-AC2C3C91F899}" type="datetimeFigureOut">
              <a:rPr lang="en-US" smtClean="0"/>
              <a:t>10/27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9B408-31D3-4D3F-850E-45EE1CC64E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46888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979FD1-EFE3-46D9-8D58-AC2C3C91F899}" type="datetimeFigureOut">
              <a:rPr lang="en-US" smtClean="0"/>
              <a:t>10/2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9B408-31D3-4D3F-850E-45EE1CC64E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66659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979FD1-EFE3-46D9-8D58-AC2C3C91F899}" type="datetimeFigureOut">
              <a:rPr lang="en-US" smtClean="0"/>
              <a:t>10/2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9B408-31D3-4D3F-850E-45EE1CC64E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27214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5979FD1-EFE3-46D9-8D58-AC2C3C91F899}" type="datetimeFigureOut">
              <a:rPr lang="en-US" smtClean="0"/>
              <a:t>10/2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19B408-31D3-4D3F-850E-45EE1CC64E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4466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Districtwide </a:t>
            </a:r>
            <a:r>
              <a:rPr lang="en-US" dirty="0" smtClean="0"/>
              <a:t>Student Survey Sent via Text about Preferred </a:t>
            </a:r>
            <a:r>
              <a:rPr lang="en-US" dirty="0" smtClean="0"/>
              <a:t>Spring 2022 Modality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Sent out on August 25, 202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1099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rvey Samp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The survey was sent to all currently enrolled SMCCCD students with status is not HS student, who have a phone number on record, and who opted-in to receive text messages (per CCC Apply). In total, the text went to 7,978 </a:t>
            </a:r>
            <a:r>
              <a:rPr lang="en-US" dirty="0" smtClean="0"/>
              <a:t>students and 3,056 responses for </a:t>
            </a:r>
            <a:r>
              <a:rPr lang="en-US" dirty="0"/>
              <a:t>a </a:t>
            </a:r>
            <a:r>
              <a:rPr lang="en-US" dirty="0" smtClean="0"/>
              <a:t>38% </a:t>
            </a:r>
            <a:r>
              <a:rPr lang="en-US" dirty="0"/>
              <a:t>response rate. </a:t>
            </a:r>
          </a:p>
          <a:p>
            <a:pPr marL="0" indent="0">
              <a:buNone/>
            </a:pPr>
            <a:r>
              <a:rPr lang="en-US" dirty="0"/>
              <a:t> 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838200" y="6176963"/>
            <a:ext cx="106324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Note:  primary campus was used to report on behalf of the colleges – the college where a student is taking the majority of their units and/or getting their financial aid that term.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9713779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udent Preferences by Primary Campus for Spring 2022 Instructional Modality</a:t>
            </a:r>
            <a:endParaRPr lang="en-US" dirty="0"/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0824608"/>
              </p:ext>
            </p:extLst>
          </p:nvPr>
        </p:nvGraphicFramePr>
        <p:xfrm>
          <a:off x="413887" y="1690687"/>
          <a:ext cx="11309684" cy="50373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2659501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73230" y="259882"/>
            <a:ext cx="8858937" cy="6482575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202130" y="336884"/>
            <a:ext cx="149784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Spanish Language Text </a:t>
            </a:r>
            <a:r>
              <a:rPr lang="en-US" dirty="0" smtClean="0"/>
              <a:t>Survey (CAN Only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6028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C19B0AAC_B5F0_47E1_9769_0E51BA99A94E&quot;,&quot;SourceFullName&quot;:&quot;https://smccd-my.sharepoint.com/personal/engelk_smccd_edu/Documents/Surveys/COVID/August 2021 Text Survey to Students/SMCCCD Modality Text Aug 2021_October 27, 2021_14.33.xlsx&quot;,&quot;LastUpdate&quot;:&quot;2021-10-27 2:42 PM&quot;,&quot;UpdatedBy&quot;:&quot;engelk&quot;,&quot;IsLinked&quot;:false,&quot;IsBrokenLink&quot;:false,&quot;Type&quot;:1}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9551A415522C74CB2195B1A777E9A7C" ma:contentTypeVersion="13" ma:contentTypeDescription="Create a new document." ma:contentTypeScope="" ma:versionID="618bc19bae1ae606cfd6804c8e2176d6">
  <xsd:schema xmlns:xsd="http://www.w3.org/2001/XMLSchema" xmlns:xs="http://www.w3.org/2001/XMLSchema" xmlns:p="http://schemas.microsoft.com/office/2006/metadata/properties" xmlns:ns3="2bc55ecc-363e-43e9-bfac-4ba2e86f45ee" xmlns:ns4="bb5bbb0b-6c89-44d7-be61-0adfe653f983" targetNamespace="http://schemas.microsoft.com/office/2006/metadata/properties" ma:root="true" ma:fieldsID="e0599e1f8396ab867dd6a01ab5d3ef8a" ns3:_="" ns4:_="">
    <xsd:import namespace="2bc55ecc-363e-43e9-bfac-4ba2e86f45ee"/>
    <xsd:import namespace="bb5bbb0b-6c89-44d7-be61-0adfe653f98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EventHashCode" minOccurs="0"/>
                <xsd:element ref="ns3:MediaServiceGenerationTime" minOccurs="0"/>
                <xsd:element ref="ns3:MediaServiceDateTaken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bc55ecc-363e-43e9-bfac-4ba2e86f45e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b5bbb0b-6c89-44d7-be61-0adfe653f983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8A4D7E4-02E0-4A96-883B-AE9F74BE511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bc55ecc-363e-43e9-bfac-4ba2e86f45ee"/>
    <ds:schemaRef ds:uri="bb5bbb0b-6c89-44d7-be61-0adfe653f98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0A03DF2-DC7A-45FA-AF26-A0FE5DADF82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9EE0D19-8ED2-42FE-87F2-F6DBD9DA5CC6}">
  <ds:schemaRefs>
    <ds:schemaRef ds:uri="http://schemas.microsoft.com/office/2006/documentManagement/types"/>
    <ds:schemaRef ds:uri="bb5bbb0b-6c89-44d7-be61-0adfe653f983"/>
    <ds:schemaRef ds:uri="http://purl.org/dc/elements/1.1/"/>
    <ds:schemaRef ds:uri="http://purl.org/dc/terms/"/>
    <ds:schemaRef ds:uri="http://purl.org/dc/dcmitype/"/>
    <ds:schemaRef ds:uri="http://schemas.microsoft.com/office/infopath/2007/PartnerControls"/>
    <ds:schemaRef ds:uri="http://schemas.microsoft.com/office/2006/metadata/properties"/>
    <ds:schemaRef ds:uri="http://schemas.openxmlformats.org/package/2006/metadata/core-properties"/>
    <ds:schemaRef ds:uri="2bc55ecc-363e-43e9-bfac-4ba2e86f45ee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30</TotalTime>
  <Words>129</Words>
  <Application>Microsoft Office PowerPoint</Application>
  <PresentationFormat>Widescreen</PresentationFormat>
  <Paragraphs>8</Paragraphs>
  <Slides>4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8" baseType="lpstr">
      <vt:lpstr>Arial</vt:lpstr>
      <vt:lpstr>Calibri</vt:lpstr>
      <vt:lpstr>Calibri Light</vt:lpstr>
      <vt:lpstr>Office Theme</vt:lpstr>
      <vt:lpstr>Districtwide Student Survey Sent via Text about Preferred Spring 2022 Modality</vt:lpstr>
      <vt:lpstr>Survey Sample</vt:lpstr>
      <vt:lpstr>Student Preferences by Primary Campus for Spring 2022 Instructional Modality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strictwide text survey re Spring 2022 Modality</dc:title>
  <dc:creator>Engel, Karen</dc:creator>
  <cp:lastModifiedBy>Engel, Karen</cp:lastModifiedBy>
  <cp:revision>10</cp:revision>
  <dcterms:created xsi:type="dcterms:W3CDTF">2021-08-26T19:46:59Z</dcterms:created>
  <dcterms:modified xsi:type="dcterms:W3CDTF">2021-10-27T21:44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9551A415522C74CB2195B1A777E9A7C</vt:lpwstr>
  </property>
</Properties>
</file>